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37" r:id="rId2"/>
    <p:sldId id="353" r:id="rId3"/>
    <p:sldId id="355" r:id="rId4"/>
    <p:sldId id="352" r:id="rId5"/>
    <p:sldId id="356" r:id="rId6"/>
    <p:sldId id="357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9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12CBC-520C-CB27-B911-BC0C068067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547F8B-CCC0-22BE-AA1C-9A8CE15428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0D67DB-6213-C15E-9173-9BF5FE644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5E34AD-A311-448D-A655-0B999DD65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AD78DD-C71A-1DF7-60A8-852BC1E20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849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79F632-86EC-2A39-17B0-8DE788A6F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1DD2F7-1AA1-4D77-C482-23D5287D71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1DFFF-B979-AFF6-0DB1-B9B5EA08D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7872A6-EC44-0EE9-EF04-FD6B4FFEE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2516A-95E5-BEE6-FEF2-30111F837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0232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D687BC3-46F8-6217-4235-FFEB65F158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0D5A0D-2B77-6A8B-D285-BD9427D7B1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E5904D-71D5-1AAC-A5FD-DB4D2372A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A2A61-C484-52A2-E7F0-971C148CE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4665D1-5A54-064B-B60F-7B879E7D0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331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F6984D-351E-9563-7462-09E1D2C91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318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F6984D-351E-9563-7462-09E1D2C91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9292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11DC7-DF96-25C5-530B-EF047B22C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FE8826-D964-4233-5AAE-108D9DB8E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801AAF-029E-1EEB-AD5A-D492739508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5AEDFB-0442-8A45-9423-2D03BBF65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A1E8A-560B-496A-318D-1AC30F28F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759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53C5A-76D0-FE2C-1A8A-9B68E1A17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787E0E-FB0C-CF51-E8BC-1B15613B32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821140-2B62-60E2-DC6A-4D1A60387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F6064D-E9E7-DF11-0249-80AF5D0A7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96FAA4-1AC6-A51B-424D-1CEC15D59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1608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2F936-300C-8B52-D6CC-D127F669B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2D0D94-CD6F-C354-9623-AF2C5D626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4546BD-2B83-50DA-88AA-3D303D92B0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1354CE-795C-8BF7-F308-3F56DF8CC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C5AE03-BE4E-C59A-717C-0F542D14C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1F30BE-91F8-73F5-2EFE-5E27454C3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1059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89C24-3DB9-B38B-82DE-C246F9E84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B3FA44-645C-DC6E-9089-215415CFB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80AD49-4D40-C59C-DFC1-15073EB61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F8B676-ED47-A222-0F2E-D6CB0003CE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3EBDB6-4908-7174-82CE-122E1A2650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2605AC-BFEC-1647-FC36-85F3EF27E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D5CD40-E340-A539-3544-D975EE562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0E0F48-F14F-F2F7-C52D-C6157A1B8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13168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378FF-182E-89E7-A6A7-6B6EC631C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B0AD26-D61F-66E3-2C7F-0B603070A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CC90BB-5365-90E9-1D50-FDD6CA165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D071C0-255F-3AD6-10D2-8D9B6AA58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5099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7B9906-3039-056F-228F-A232E3AF7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381F08-DBCF-030D-0CF1-1C9CCB9C3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37142-A9B2-8D42-8E7F-F44EF1F53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6093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49A7B-2E30-8D5B-2181-6BEF11E46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AB0D6B-0E66-9822-4AE0-9EEE0210B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7A5984-54C2-2C86-2E20-8109936022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CC1862-5DBB-097A-78D3-BD8A49AF0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66099C-F64E-F144-BB90-F5C70ABDC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E98696-5C30-D8B0-6044-8B86E2013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8888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3A860-C269-6702-8BC4-9D8812D91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17DB5F-F5F2-598D-0FFA-1309D3EE80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498E5-6720-58BB-9FFC-B412F04656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6158A0-2486-7D5A-9F50-86C4C21CB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54C0F3-4AF9-66D6-89EB-1417E1233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CA3547-0E1C-9F2B-90A5-AF9244877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68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A108CB-99D0-3AE6-4912-4E918E1AD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DDA24-8F95-1C40-3B71-94A7C48E0F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F9426A-72B4-21C9-33DC-C3D45792D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DEDBF8-CF15-4F07-85D0-64D1E59DC4AE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9DB188-C237-8AFF-6CE6-660A3F2E72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D26453-1E77-3668-57A7-3A7C15232D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3B5FEB-4C79-4178-8923-1DEA3B7E08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7928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A6E97516-3832-6E4E-9A8C-2F6E083A7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A6E97516-3832-6E4E-9A8C-2F6E083A7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oup 40">
            <a:extLst>
              <a:ext uri="{FF2B5EF4-FFF2-40B4-BE49-F238E27FC236}">
                <a16:creationId xmlns:a16="http://schemas.microsoft.com/office/drawing/2014/main" id="{77CA31CB-A4C4-F222-7D7E-A89D91369C29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06BF817-4881-8ECE-6DE4-70B2DB548968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3A76204-0D4A-D09D-A4FC-B3E02ED93C26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546871C-DC25-0C3D-B327-E48283EE3C86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35A07DD-441D-5696-D845-C17B0199C860}"/>
              </a:ext>
            </a:extLst>
          </p:cNvPr>
          <p:cNvSpPr/>
          <p:nvPr/>
        </p:nvSpPr>
        <p:spPr>
          <a:xfrm>
            <a:off x="442912" y="1155699"/>
            <a:ext cx="11306174" cy="4889501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0792DE-0C89-E183-976E-43DC54AE6580}"/>
              </a:ext>
            </a:extLst>
          </p:cNvPr>
          <p:cNvSpPr txBox="1"/>
          <p:nvPr/>
        </p:nvSpPr>
        <p:spPr>
          <a:xfrm>
            <a:off x="6126164" y="1231521"/>
            <a:ext cx="30734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 hours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A33E172-D3AC-7943-B0AC-A0822FC0F91B}"/>
              </a:ext>
            </a:extLst>
          </p:cNvPr>
          <p:cNvSpPr/>
          <p:nvPr/>
        </p:nvSpPr>
        <p:spPr>
          <a:xfrm>
            <a:off x="37846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C9D941D-328C-3EF8-48A7-D9F59755EB21}"/>
              </a:ext>
            </a:extLst>
          </p:cNvPr>
          <p:cNvSpPr/>
          <p:nvPr/>
        </p:nvSpPr>
        <p:spPr>
          <a:xfrm>
            <a:off x="645795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493CE8F-93F9-763A-94DD-5386883BE78F}"/>
              </a:ext>
            </a:extLst>
          </p:cNvPr>
          <p:cNvSpPr/>
          <p:nvPr/>
        </p:nvSpPr>
        <p:spPr>
          <a:xfrm>
            <a:off x="91313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43945317-5AFC-26FF-BCCA-53C424595B4E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7FFE593B-A0C5-D870-7A82-368DB3A3A966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9284FA93-671D-FD66-550B-AC5451F88DAA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5BE9254-7726-5E72-8311-18739E87C892}"/>
              </a:ext>
            </a:extLst>
          </p:cNvPr>
          <p:cNvGraphicFramePr>
            <a:graphicFrameLocks noGrp="1"/>
          </p:cNvGraphicFramePr>
          <p:nvPr/>
        </p:nvGraphicFramePr>
        <p:xfrm>
          <a:off x="622300" y="1714500"/>
          <a:ext cx="10858501" cy="4114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fication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st track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Level Enhancement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 Slide Cost</a:t>
                      </a:r>
                      <a:endParaRPr lang="en-IN" sz="11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 Per Sl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ity level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1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2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3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stency Check (colors, fonts, and text size)</a:t>
                      </a:r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cing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here to Style Gu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95432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-do Design Element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eate Images to Slid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1543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lates Cre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810455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nography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25144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Visualiz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62445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ographic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79507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 imag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62440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imation &amp; Transi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20914"/>
                  </a:ext>
                </a:extLst>
              </a:tr>
            </a:tbl>
          </a:graphicData>
        </a:graphic>
      </p:graphicFrame>
      <p:sp>
        <p:nvSpPr>
          <p:cNvPr id="12" name="Freeform 4">
            <a:extLst>
              <a:ext uri="{FF2B5EF4-FFF2-40B4-BE49-F238E27FC236}">
                <a16:creationId xmlns:a16="http://schemas.microsoft.com/office/drawing/2014/main" id="{7AB3CA79-0B78-145E-7625-9F242EEBA124}"/>
              </a:ext>
            </a:extLst>
          </p:cNvPr>
          <p:cNvSpPr>
            <a:spLocks/>
          </p:cNvSpPr>
          <p:nvPr/>
        </p:nvSpPr>
        <p:spPr bwMode="auto">
          <a:xfrm>
            <a:off x="4902280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4A9496B9-5161-A1F4-1C29-F09C4331DBE9}"/>
              </a:ext>
            </a:extLst>
          </p:cNvPr>
          <p:cNvSpPr>
            <a:spLocks/>
          </p:cNvSpPr>
          <p:nvPr/>
        </p:nvSpPr>
        <p:spPr bwMode="auto">
          <a:xfrm>
            <a:off x="4902280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BB729A0B-EB3C-B7FC-1229-2381559822D0}"/>
              </a:ext>
            </a:extLst>
          </p:cNvPr>
          <p:cNvSpPr>
            <a:spLocks/>
          </p:cNvSpPr>
          <p:nvPr/>
        </p:nvSpPr>
        <p:spPr bwMode="auto">
          <a:xfrm>
            <a:off x="4902280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0AD5B687-FA2E-4287-732C-5642A9FB4221}"/>
              </a:ext>
            </a:extLst>
          </p:cNvPr>
          <p:cNvSpPr>
            <a:spLocks/>
          </p:cNvSpPr>
          <p:nvPr/>
        </p:nvSpPr>
        <p:spPr bwMode="auto">
          <a:xfrm>
            <a:off x="4902280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5C3AD0D-4304-B653-AA7D-034D292F0539}"/>
              </a:ext>
            </a:extLst>
          </p:cNvPr>
          <p:cNvGrpSpPr/>
          <p:nvPr/>
        </p:nvGrpSpPr>
        <p:grpSpPr>
          <a:xfrm>
            <a:off x="7575630" y="2973138"/>
            <a:ext cx="201455" cy="896164"/>
            <a:chOff x="7601028" y="3176338"/>
            <a:chExt cx="201455" cy="896164"/>
          </a:xfrm>
          <a:solidFill>
            <a:srgbClr val="00B050"/>
          </a:solidFill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E97D3E30-F3F8-9CD8-A609-C521025A1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1763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1C48125-9B99-B512-0F57-EED6C6058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413405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9" name="Freeform 4">
              <a:extLst>
                <a:ext uri="{FF2B5EF4-FFF2-40B4-BE49-F238E27FC236}">
                  <a16:creationId xmlns:a16="http://schemas.microsoft.com/office/drawing/2014/main" id="{E10B7AD0-C81E-0F47-176E-2E8D964BC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650472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C7901346-5AF1-3A08-98B1-E1CA8E2F6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8875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1" name="Freeform 4">
            <a:extLst>
              <a:ext uri="{FF2B5EF4-FFF2-40B4-BE49-F238E27FC236}">
                <a16:creationId xmlns:a16="http://schemas.microsoft.com/office/drawing/2014/main" id="{03435515-03FA-9829-9AF3-6471AB50563A}"/>
              </a:ext>
            </a:extLst>
          </p:cNvPr>
          <p:cNvSpPr>
            <a:spLocks/>
          </p:cNvSpPr>
          <p:nvPr/>
        </p:nvSpPr>
        <p:spPr bwMode="auto">
          <a:xfrm>
            <a:off x="10296603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A50AA90B-5959-D7E2-1BAE-68F930B94F7A}"/>
              </a:ext>
            </a:extLst>
          </p:cNvPr>
          <p:cNvSpPr>
            <a:spLocks/>
          </p:cNvSpPr>
          <p:nvPr/>
        </p:nvSpPr>
        <p:spPr bwMode="auto">
          <a:xfrm>
            <a:off x="10296603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Freeform 4">
            <a:extLst>
              <a:ext uri="{FF2B5EF4-FFF2-40B4-BE49-F238E27FC236}">
                <a16:creationId xmlns:a16="http://schemas.microsoft.com/office/drawing/2014/main" id="{8C9F1E77-8614-A00C-204A-3D7594BBED13}"/>
              </a:ext>
            </a:extLst>
          </p:cNvPr>
          <p:cNvSpPr>
            <a:spLocks/>
          </p:cNvSpPr>
          <p:nvPr/>
        </p:nvSpPr>
        <p:spPr bwMode="auto">
          <a:xfrm>
            <a:off x="10296603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Freeform 4">
            <a:extLst>
              <a:ext uri="{FF2B5EF4-FFF2-40B4-BE49-F238E27FC236}">
                <a16:creationId xmlns:a16="http://schemas.microsoft.com/office/drawing/2014/main" id="{D3C0D8F5-6D16-7980-43F8-786F392C62F2}"/>
              </a:ext>
            </a:extLst>
          </p:cNvPr>
          <p:cNvSpPr>
            <a:spLocks/>
          </p:cNvSpPr>
          <p:nvPr/>
        </p:nvSpPr>
        <p:spPr bwMode="auto">
          <a:xfrm>
            <a:off x="10296603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E1292D7-32A3-BD60-2B17-EA5D00F78A83}"/>
              </a:ext>
            </a:extLst>
          </p:cNvPr>
          <p:cNvSpPr>
            <a:spLocks/>
          </p:cNvSpPr>
          <p:nvPr/>
        </p:nvSpPr>
        <p:spPr bwMode="auto">
          <a:xfrm>
            <a:off x="10296603" y="44082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Freeform 4">
            <a:extLst>
              <a:ext uri="{FF2B5EF4-FFF2-40B4-BE49-F238E27FC236}">
                <a16:creationId xmlns:a16="http://schemas.microsoft.com/office/drawing/2014/main" id="{A7F813F9-126B-B5DC-7A65-72993159399B}"/>
              </a:ext>
            </a:extLst>
          </p:cNvPr>
          <p:cNvSpPr>
            <a:spLocks/>
          </p:cNvSpPr>
          <p:nvPr/>
        </p:nvSpPr>
        <p:spPr bwMode="auto">
          <a:xfrm>
            <a:off x="10296603" y="488448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B51F65A5-D844-20CC-63A7-80BDEE7C20AE}"/>
              </a:ext>
            </a:extLst>
          </p:cNvPr>
          <p:cNvSpPr>
            <a:spLocks/>
          </p:cNvSpPr>
          <p:nvPr/>
        </p:nvSpPr>
        <p:spPr bwMode="auto">
          <a:xfrm>
            <a:off x="4931609" y="396139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8" name="Freeform 8">
            <a:extLst>
              <a:ext uri="{FF2B5EF4-FFF2-40B4-BE49-F238E27FC236}">
                <a16:creationId xmlns:a16="http://schemas.microsoft.com/office/drawing/2014/main" id="{A77DCDEB-11A0-676A-1E55-B6D4BA3EA182}"/>
              </a:ext>
            </a:extLst>
          </p:cNvPr>
          <p:cNvSpPr>
            <a:spLocks/>
          </p:cNvSpPr>
          <p:nvPr/>
        </p:nvSpPr>
        <p:spPr bwMode="auto">
          <a:xfrm>
            <a:off x="493160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Freeform 8">
            <a:extLst>
              <a:ext uri="{FF2B5EF4-FFF2-40B4-BE49-F238E27FC236}">
                <a16:creationId xmlns:a16="http://schemas.microsoft.com/office/drawing/2014/main" id="{3E51EF2A-A34B-075E-B11C-C36974A22187}"/>
              </a:ext>
            </a:extLst>
          </p:cNvPr>
          <p:cNvSpPr>
            <a:spLocks/>
          </p:cNvSpPr>
          <p:nvPr/>
        </p:nvSpPr>
        <p:spPr bwMode="auto">
          <a:xfrm>
            <a:off x="4931609" y="467957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D7E004D4-E152-C5E1-414E-7D1DA462FDB6}"/>
              </a:ext>
            </a:extLst>
          </p:cNvPr>
          <p:cNvSpPr>
            <a:spLocks/>
          </p:cNvSpPr>
          <p:nvPr/>
        </p:nvSpPr>
        <p:spPr bwMode="auto">
          <a:xfrm>
            <a:off x="493160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A5B50624-49C7-E787-F5A4-0A6AAC36BDB4}"/>
              </a:ext>
            </a:extLst>
          </p:cNvPr>
          <p:cNvSpPr>
            <a:spLocks/>
          </p:cNvSpPr>
          <p:nvPr/>
        </p:nvSpPr>
        <p:spPr bwMode="auto">
          <a:xfrm>
            <a:off x="4931609" y="516344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Freeform 8">
            <a:extLst>
              <a:ext uri="{FF2B5EF4-FFF2-40B4-BE49-F238E27FC236}">
                <a16:creationId xmlns:a16="http://schemas.microsoft.com/office/drawing/2014/main" id="{670E8500-024B-E75E-0226-8C698CECD240}"/>
              </a:ext>
            </a:extLst>
          </p:cNvPr>
          <p:cNvSpPr>
            <a:spLocks/>
          </p:cNvSpPr>
          <p:nvPr/>
        </p:nvSpPr>
        <p:spPr bwMode="auto">
          <a:xfrm>
            <a:off x="4931609" y="540538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1FC79B2C-DB8C-5AB1-20E7-FB02FA061656}"/>
              </a:ext>
            </a:extLst>
          </p:cNvPr>
          <p:cNvSpPr>
            <a:spLocks/>
          </p:cNvSpPr>
          <p:nvPr/>
        </p:nvSpPr>
        <p:spPr bwMode="auto">
          <a:xfrm>
            <a:off x="4931609" y="564731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4" name="Freeform 8">
            <a:extLst>
              <a:ext uri="{FF2B5EF4-FFF2-40B4-BE49-F238E27FC236}">
                <a16:creationId xmlns:a16="http://schemas.microsoft.com/office/drawing/2014/main" id="{72CFAB55-FD01-2042-2E08-5B8C8AEA8345}"/>
              </a:ext>
            </a:extLst>
          </p:cNvPr>
          <p:cNvSpPr>
            <a:spLocks/>
          </p:cNvSpPr>
          <p:nvPr/>
        </p:nvSpPr>
        <p:spPr bwMode="auto">
          <a:xfrm>
            <a:off x="760495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Freeform 8">
            <a:extLst>
              <a:ext uri="{FF2B5EF4-FFF2-40B4-BE49-F238E27FC236}">
                <a16:creationId xmlns:a16="http://schemas.microsoft.com/office/drawing/2014/main" id="{9E9B258D-B5E6-A25B-A062-E8BE5A14F63D}"/>
              </a:ext>
            </a:extLst>
          </p:cNvPr>
          <p:cNvSpPr>
            <a:spLocks/>
          </p:cNvSpPr>
          <p:nvPr/>
        </p:nvSpPr>
        <p:spPr bwMode="auto">
          <a:xfrm>
            <a:off x="760495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FC96EDB-FF65-51CE-99EC-43181DBB49B0}"/>
              </a:ext>
            </a:extLst>
          </p:cNvPr>
          <p:cNvSpPr/>
          <p:nvPr/>
        </p:nvSpPr>
        <p:spPr>
          <a:xfrm>
            <a:off x="442912" y="6007100"/>
            <a:ext cx="6466114" cy="466006"/>
          </a:xfrm>
          <a:prstGeom prst="rect">
            <a:avLst/>
          </a:prstGeom>
          <a:noFill/>
          <a:ln w="1798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EF7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hoose our bundled packages to get discount up to 30%</a:t>
            </a:r>
          </a:p>
        </p:txBody>
      </p:sp>
      <p:sp>
        <p:nvSpPr>
          <p:cNvPr id="37" name="Freeform 8">
            <a:extLst>
              <a:ext uri="{FF2B5EF4-FFF2-40B4-BE49-F238E27FC236}">
                <a16:creationId xmlns:a16="http://schemas.microsoft.com/office/drawing/2014/main" id="{7B4E5458-9934-A5B3-9E02-CB3DBE587810}"/>
              </a:ext>
            </a:extLst>
          </p:cNvPr>
          <p:cNvSpPr>
            <a:spLocks/>
          </p:cNvSpPr>
          <p:nvPr/>
        </p:nvSpPr>
        <p:spPr bwMode="auto">
          <a:xfrm>
            <a:off x="4928361" y="4201345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0266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4328A-2756-DFF5-E5FB-208B7EF13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DEA7F18A-19F9-8F0B-8124-12ED2134BA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A6E97516-3832-6E4E-9A8C-2F6E083A7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oup 40">
            <a:extLst>
              <a:ext uri="{FF2B5EF4-FFF2-40B4-BE49-F238E27FC236}">
                <a16:creationId xmlns:a16="http://schemas.microsoft.com/office/drawing/2014/main" id="{AFFAC9D7-73EE-02AE-EAC0-FE2ABD3F3C7C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743C084-819A-379E-9CE6-96E210D30181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FFD62E1-DB3E-130C-020A-6BE6F4BC9AA6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9A972E6-8968-E625-FAE0-7DFD3E511C35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019D16D-A9FF-6708-9BBE-B792CC3A389E}"/>
              </a:ext>
            </a:extLst>
          </p:cNvPr>
          <p:cNvSpPr/>
          <p:nvPr/>
        </p:nvSpPr>
        <p:spPr>
          <a:xfrm>
            <a:off x="442912" y="1155699"/>
            <a:ext cx="11306174" cy="4889501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7D5D1D-DCBF-190B-9D2F-25D331BA1592}"/>
              </a:ext>
            </a:extLst>
          </p:cNvPr>
          <p:cNvSpPr txBox="1"/>
          <p:nvPr/>
        </p:nvSpPr>
        <p:spPr>
          <a:xfrm>
            <a:off x="6126164" y="1231521"/>
            <a:ext cx="30734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8 hours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1342E98-5043-B85A-8D1D-3BDA0C990686}"/>
              </a:ext>
            </a:extLst>
          </p:cNvPr>
          <p:cNvSpPr/>
          <p:nvPr/>
        </p:nvSpPr>
        <p:spPr>
          <a:xfrm>
            <a:off x="37846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D575A1F-36B2-3DCB-B2BB-AAF7F8938819}"/>
              </a:ext>
            </a:extLst>
          </p:cNvPr>
          <p:cNvSpPr/>
          <p:nvPr/>
        </p:nvSpPr>
        <p:spPr>
          <a:xfrm>
            <a:off x="645795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86EA47F-F8F2-14C3-A01E-A654BDF3FFDE}"/>
              </a:ext>
            </a:extLst>
          </p:cNvPr>
          <p:cNvSpPr/>
          <p:nvPr/>
        </p:nvSpPr>
        <p:spPr>
          <a:xfrm>
            <a:off x="91313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DCEBCC42-6571-C55A-3657-56598D5AD286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D481A5FD-2826-6754-B447-9FE41E8C61A6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BE8A12A2-4118-8CE2-4249-C286DAB05F72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6668831-7FA1-3A6A-DA69-415C15F903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532724"/>
              </p:ext>
            </p:extLst>
          </p:nvPr>
        </p:nvGraphicFramePr>
        <p:xfrm>
          <a:off x="622300" y="1714500"/>
          <a:ext cx="10858501" cy="4114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fication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st track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Level Enhancement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 Slide Cost</a:t>
                      </a:r>
                      <a:endParaRPr lang="en-IN" sz="11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 Per Sl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ity level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1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2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3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stency Check (colors, fonts, and text size)</a:t>
                      </a:r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cing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here to Style Gu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95432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-do Design Element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eate Images to Slid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1543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lates Cre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810455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nography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25144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Visualiz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62445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ographic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79507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 imag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62440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imation &amp; Transi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20914"/>
                  </a:ext>
                </a:extLst>
              </a:tr>
            </a:tbl>
          </a:graphicData>
        </a:graphic>
      </p:graphicFrame>
      <p:sp>
        <p:nvSpPr>
          <p:cNvPr id="12" name="Freeform 4">
            <a:extLst>
              <a:ext uri="{FF2B5EF4-FFF2-40B4-BE49-F238E27FC236}">
                <a16:creationId xmlns:a16="http://schemas.microsoft.com/office/drawing/2014/main" id="{3878B8A0-C193-435B-2E04-934AA89F3F49}"/>
              </a:ext>
            </a:extLst>
          </p:cNvPr>
          <p:cNvSpPr>
            <a:spLocks/>
          </p:cNvSpPr>
          <p:nvPr/>
        </p:nvSpPr>
        <p:spPr bwMode="auto">
          <a:xfrm>
            <a:off x="4902280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53E11553-33CF-1CE3-C59D-A5A8CE9A6172}"/>
              </a:ext>
            </a:extLst>
          </p:cNvPr>
          <p:cNvSpPr>
            <a:spLocks/>
          </p:cNvSpPr>
          <p:nvPr/>
        </p:nvSpPr>
        <p:spPr bwMode="auto">
          <a:xfrm>
            <a:off x="4902280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8BD18539-9CDB-A4CD-6691-E3D0C6D094D4}"/>
              </a:ext>
            </a:extLst>
          </p:cNvPr>
          <p:cNvSpPr>
            <a:spLocks/>
          </p:cNvSpPr>
          <p:nvPr/>
        </p:nvSpPr>
        <p:spPr bwMode="auto">
          <a:xfrm>
            <a:off x="4902280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E2D38D42-4563-9A9E-5297-EDB0E2FA0157}"/>
              </a:ext>
            </a:extLst>
          </p:cNvPr>
          <p:cNvSpPr>
            <a:spLocks/>
          </p:cNvSpPr>
          <p:nvPr/>
        </p:nvSpPr>
        <p:spPr bwMode="auto">
          <a:xfrm>
            <a:off x="4902280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84BF543-86ED-77DC-143C-C7922A894C00}"/>
              </a:ext>
            </a:extLst>
          </p:cNvPr>
          <p:cNvGrpSpPr/>
          <p:nvPr/>
        </p:nvGrpSpPr>
        <p:grpSpPr>
          <a:xfrm>
            <a:off x="7575630" y="2973138"/>
            <a:ext cx="201455" cy="896164"/>
            <a:chOff x="7601028" y="3176338"/>
            <a:chExt cx="201455" cy="896164"/>
          </a:xfrm>
          <a:solidFill>
            <a:srgbClr val="00B050"/>
          </a:solidFill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32AAB54E-8FE1-7A08-84D6-0F660E175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1763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1CC55A3-B802-CD6F-8DA9-702B99334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413405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9" name="Freeform 4">
              <a:extLst>
                <a:ext uri="{FF2B5EF4-FFF2-40B4-BE49-F238E27FC236}">
                  <a16:creationId xmlns:a16="http://schemas.microsoft.com/office/drawing/2014/main" id="{A33083A9-171D-6D37-FA9A-A5360B351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650472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FDAD3984-F2E2-F151-CD17-73E137537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8875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1" name="Freeform 4">
            <a:extLst>
              <a:ext uri="{FF2B5EF4-FFF2-40B4-BE49-F238E27FC236}">
                <a16:creationId xmlns:a16="http://schemas.microsoft.com/office/drawing/2014/main" id="{14C40B73-6E4C-669B-A0D8-D702F53303F6}"/>
              </a:ext>
            </a:extLst>
          </p:cNvPr>
          <p:cNvSpPr>
            <a:spLocks/>
          </p:cNvSpPr>
          <p:nvPr/>
        </p:nvSpPr>
        <p:spPr bwMode="auto">
          <a:xfrm>
            <a:off x="10296603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027B140C-C27E-3760-B0E9-22F22D05DF88}"/>
              </a:ext>
            </a:extLst>
          </p:cNvPr>
          <p:cNvSpPr>
            <a:spLocks/>
          </p:cNvSpPr>
          <p:nvPr/>
        </p:nvSpPr>
        <p:spPr bwMode="auto">
          <a:xfrm>
            <a:off x="10296603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Freeform 4">
            <a:extLst>
              <a:ext uri="{FF2B5EF4-FFF2-40B4-BE49-F238E27FC236}">
                <a16:creationId xmlns:a16="http://schemas.microsoft.com/office/drawing/2014/main" id="{6C166365-08A0-F595-591A-750F2A1B8D22}"/>
              </a:ext>
            </a:extLst>
          </p:cNvPr>
          <p:cNvSpPr>
            <a:spLocks/>
          </p:cNvSpPr>
          <p:nvPr/>
        </p:nvSpPr>
        <p:spPr bwMode="auto">
          <a:xfrm>
            <a:off x="10296603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Freeform 4">
            <a:extLst>
              <a:ext uri="{FF2B5EF4-FFF2-40B4-BE49-F238E27FC236}">
                <a16:creationId xmlns:a16="http://schemas.microsoft.com/office/drawing/2014/main" id="{D683AD1B-A74A-0433-5B09-E6105F43BEB4}"/>
              </a:ext>
            </a:extLst>
          </p:cNvPr>
          <p:cNvSpPr>
            <a:spLocks/>
          </p:cNvSpPr>
          <p:nvPr/>
        </p:nvSpPr>
        <p:spPr bwMode="auto">
          <a:xfrm>
            <a:off x="10296603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3276C9F4-8C21-EE8E-89C6-B5DD21AC463A}"/>
              </a:ext>
            </a:extLst>
          </p:cNvPr>
          <p:cNvSpPr>
            <a:spLocks/>
          </p:cNvSpPr>
          <p:nvPr/>
        </p:nvSpPr>
        <p:spPr bwMode="auto">
          <a:xfrm>
            <a:off x="10296603" y="44082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Freeform 4">
            <a:extLst>
              <a:ext uri="{FF2B5EF4-FFF2-40B4-BE49-F238E27FC236}">
                <a16:creationId xmlns:a16="http://schemas.microsoft.com/office/drawing/2014/main" id="{84008B5A-5C0B-7767-53DE-C811970A1A80}"/>
              </a:ext>
            </a:extLst>
          </p:cNvPr>
          <p:cNvSpPr>
            <a:spLocks/>
          </p:cNvSpPr>
          <p:nvPr/>
        </p:nvSpPr>
        <p:spPr bwMode="auto">
          <a:xfrm>
            <a:off x="10296603" y="488448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44D12576-16D7-3777-32FB-58C0B134C229}"/>
              </a:ext>
            </a:extLst>
          </p:cNvPr>
          <p:cNvSpPr>
            <a:spLocks/>
          </p:cNvSpPr>
          <p:nvPr/>
        </p:nvSpPr>
        <p:spPr bwMode="auto">
          <a:xfrm>
            <a:off x="4931609" y="396139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8" name="Freeform 8">
            <a:extLst>
              <a:ext uri="{FF2B5EF4-FFF2-40B4-BE49-F238E27FC236}">
                <a16:creationId xmlns:a16="http://schemas.microsoft.com/office/drawing/2014/main" id="{1A9E08B4-7639-B553-D3FB-CDE5074A86CE}"/>
              </a:ext>
            </a:extLst>
          </p:cNvPr>
          <p:cNvSpPr>
            <a:spLocks/>
          </p:cNvSpPr>
          <p:nvPr/>
        </p:nvSpPr>
        <p:spPr bwMode="auto">
          <a:xfrm>
            <a:off x="493160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Freeform 8">
            <a:extLst>
              <a:ext uri="{FF2B5EF4-FFF2-40B4-BE49-F238E27FC236}">
                <a16:creationId xmlns:a16="http://schemas.microsoft.com/office/drawing/2014/main" id="{37B89D1C-964D-F5E7-29D4-79C75D5ECAE3}"/>
              </a:ext>
            </a:extLst>
          </p:cNvPr>
          <p:cNvSpPr>
            <a:spLocks/>
          </p:cNvSpPr>
          <p:nvPr/>
        </p:nvSpPr>
        <p:spPr bwMode="auto">
          <a:xfrm>
            <a:off x="4931609" y="467957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BD77AA2B-4196-4126-6E55-753C4A7535D4}"/>
              </a:ext>
            </a:extLst>
          </p:cNvPr>
          <p:cNvSpPr>
            <a:spLocks/>
          </p:cNvSpPr>
          <p:nvPr/>
        </p:nvSpPr>
        <p:spPr bwMode="auto">
          <a:xfrm>
            <a:off x="493160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6289F13D-4939-095C-B59D-9175E954BA3D}"/>
              </a:ext>
            </a:extLst>
          </p:cNvPr>
          <p:cNvSpPr>
            <a:spLocks/>
          </p:cNvSpPr>
          <p:nvPr/>
        </p:nvSpPr>
        <p:spPr bwMode="auto">
          <a:xfrm>
            <a:off x="4931609" y="516344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Freeform 8">
            <a:extLst>
              <a:ext uri="{FF2B5EF4-FFF2-40B4-BE49-F238E27FC236}">
                <a16:creationId xmlns:a16="http://schemas.microsoft.com/office/drawing/2014/main" id="{5BCC170C-549C-97E2-40A2-A7085A694A69}"/>
              </a:ext>
            </a:extLst>
          </p:cNvPr>
          <p:cNvSpPr>
            <a:spLocks/>
          </p:cNvSpPr>
          <p:nvPr/>
        </p:nvSpPr>
        <p:spPr bwMode="auto">
          <a:xfrm>
            <a:off x="4931609" y="540538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CF66F26D-BAC2-EBD6-B339-5CC5B1D7BE70}"/>
              </a:ext>
            </a:extLst>
          </p:cNvPr>
          <p:cNvSpPr>
            <a:spLocks/>
          </p:cNvSpPr>
          <p:nvPr/>
        </p:nvSpPr>
        <p:spPr bwMode="auto">
          <a:xfrm>
            <a:off x="4931609" y="564731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4" name="Freeform 8">
            <a:extLst>
              <a:ext uri="{FF2B5EF4-FFF2-40B4-BE49-F238E27FC236}">
                <a16:creationId xmlns:a16="http://schemas.microsoft.com/office/drawing/2014/main" id="{7C909735-020D-FC05-A329-178C9899C16F}"/>
              </a:ext>
            </a:extLst>
          </p:cNvPr>
          <p:cNvSpPr>
            <a:spLocks/>
          </p:cNvSpPr>
          <p:nvPr/>
        </p:nvSpPr>
        <p:spPr bwMode="auto">
          <a:xfrm>
            <a:off x="760495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Freeform 8">
            <a:extLst>
              <a:ext uri="{FF2B5EF4-FFF2-40B4-BE49-F238E27FC236}">
                <a16:creationId xmlns:a16="http://schemas.microsoft.com/office/drawing/2014/main" id="{DDAEB282-9FFF-1D8D-978B-690C8477FE87}"/>
              </a:ext>
            </a:extLst>
          </p:cNvPr>
          <p:cNvSpPr>
            <a:spLocks/>
          </p:cNvSpPr>
          <p:nvPr/>
        </p:nvSpPr>
        <p:spPr bwMode="auto">
          <a:xfrm>
            <a:off x="760495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7321BF-61BC-375C-3F88-D24F029EB65D}"/>
              </a:ext>
            </a:extLst>
          </p:cNvPr>
          <p:cNvSpPr/>
          <p:nvPr/>
        </p:nvSpPr>
        <p:spPr>
          <a:xfrm>
            <a:off x="442912" y="6007100"/>
            <a:ext cx="6466114" cy="466006"/>
          </a:xfrm>
          <a:prstGeom prst="rect">
            <a:avLst/>
          </a:prstGeom>
          <a:noFill/>
          <a:ln w="1798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EF7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hoose our bundled packages to get discount up to 30%</a:t>
            </a:r>
          </a:p>
        </p:txBody>
      </p:sp>
      <p:sp>
        <p:nvSpPr>
          <p:cNvPr id="37" name="Freeform 8">
            <a:extLst>
              <a:ext uri="{FF2B5EF4-FFF2-40B4-BE49-F238E27FC236}">
                <a16:creationId xmlns:a16="http://schemas.microsoft.com/office/drawing/2014/main" id="{F133C2C9-50EE-8BB1-53F5-D547E6A13363}"/>
              </a:ext>
            </a:extLst>
          </p:cNvPr>
          <p:cNvSpPr>
            <a:spLocks/>
          </p:cNvSpPr>
          <p:nvPr/>
        </p:nvSpPr>
        <p:spPr bwMode="auto">
          <a:xfrm>
            <a:off x="4928361" y="4201345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529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FD33BE-F700-ADA0-5593-4B0FB58EB7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04A3FF48-AEAE-1F1A-4865-E6A30F103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27E83A60-69AC-3768-68D1-F0320EAEE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oup 40">
            <a:extLst>
              <a:ext uri="{FF2B5EF4-FFF2-40B4-BE49-F238E27FC236}">
                <a16:creationId xmlns:a16="http://schemas.microsoft.com/office/drawing/2014/main" id="{0584A71B-D046-1D09-3905-BB740E315055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21B840B-8C89-E8C4-9DDD-46106377E021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7993FC-FD6C-0D2D-2A50-3D6E5FA30736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D132512-8082-F630-367C-5039E7C2E1E9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c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7CA5298-29B4-D772-E0A2-AC9CA7E30874}"/>
              </a:ext>
            </a:extLst>
          </p:cNvPr>
          <p:cNvSpPr/>
          <p:nvPr/>
        </p:nvSpPr>
        <p:spPr>
          <a:xfrm>
            <a:off x="442912" y="1155699"/>
            <a:ext cx="11306174" cy="4889501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85D99B-0AE0-78DD-1CF9-1D51EF3BB7BD}"/>
              </a:ext>
            </a:extLst>
          </p:cNvPr>
          <p:cNvSpPr txBox="1"/>
          <p:nvPr/>
        </p:nvSpPr>
        <p:spPr>
          <a:xfrm>
            <a:off x="6126164" y="1231521"/>
            <a:ext cx="30734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2 hours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DC6D59B-B91E-80BD-B59A-6FAC2A6CE3B4}"/>
              </a:ext>
            </a:extLst>
          </p:cNvPr>
          <p:cNvSpPr/>
          <p:nvPr/>
        </p:nvSpPr>
        <p:spPr>
          <a:xfrm>
            <a:off x="37846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D5B066D-2D38-5CE5-A583-132FBDF2931A}"/>
              </a:ext>
            </a:extLst>
          </p:cNvPr>
          <p:cNvSpPr/>
          <p:nvPr/>
        </p:nvSpPr>
        <p:spPr>
          <a:xfrm>
            <a:off x="645795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2DCDBF7-D565-B711-C5AB-EAAA16FE3295}"/>
              </a:ext>
            </a:extLst>
          </p:cNvPr>
          <p:cNvSpPr/>
          <p:nvPr/>
        </p:nvSpPr>
        <p:spPr>
          <a:xfrm>
            <a:off x="9131300" y="1612900"/>
            <a:ext cx="2436814" cy="4292600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45A05191-66CD-E86D-5EB9-44D1BF740937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CE3F8FA3-F771-41C0-0878-90E8F8AD3306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6463A45B-D7BE-7E11-93DD-D0FA397A8082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1975299"/>
            <a:ext cx="1309995" cy="50995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6BB14DD-E33D-7D69-5B1B-88243568B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52132"/>
              </p:ext>
            </p:extLst>
          </p:nvPr>
        </p:nvGraphicFramePr>
        <p:xfrm>
          <a:off x="622300" y="1714500"/>
          <a:ext cx="10858501" cy="4114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fication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st track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Level Enhancement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 Slide Cost</a:t>
                      </a:r>
                      <a:endParaRPr lang="en-IN" sz="11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IN" sz="19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en-IN" sz="1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 Per Sl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min</a:t>
                      </a:r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ity level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1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2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3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stency Check (colors, fonts, and text size)</a:t>
                      </a:r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cing Che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here to Style Guide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95432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-do Design Element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eate Images to Slid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x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915430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lates Cre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810455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onography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251449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Visualiza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0624458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ographic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79507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 images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624406"/>
                  </a:ext>
                </a:extLst>
              </a:tr>
              <a:tr h="240488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imation &amp; Transition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</a:t>
                      </a:r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20914"/>
                  </a:ext>
                </a:extLst>
              </a:tr>
            </a:tbl>
          </a:graphicData>
        </a:graphic>
      </p:graphicFrame>
      <p:sp>
        <p:nvSpPr>
          <p:cNvPr id="12" name="Freeform 4">
            <a:extLst>
              <a:ext uri="{FF2B5EF4-FFF2-40B4-BE49-F238E27FC236}">
                <a16:creationId xmlns:a16="http://schemas.microsoft.com/office/drawing/2014/main" id="{14097DA8-A5D9-B566-DA1C-4CF5AAF13B6E}"/>
              </a:ext>
            </a:extLst>
          </p:cNvPr>
          <p:cNvSpPr>
            <a:spLocks/>
          </p:cNvSpPr>
          <p:nvPr/>
        </p:nvSpPr>
        <p:spPr bwMode="auto">
          <a:xfrm>
            <a:off x="4902280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3BE4A000-0759-CF2C-0EFF-72CDC47D9714}"/>
              </a:ext>
            </a:extLst>
          </p:cNvPr>
          <p:cNvSpPr>
            <a:spLocks/>
          </p:cNvSpPr>
          <p:nvPr/>
        </p:nvSpPr>
        <p:spPr bwMode="auto">
          <a:xfrm>
            <a:off x="4902280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Freeform 4">
            <a:extLst>
              <a:ext uri="{FF2B5EF4-FFF2-40B4-BE49-F238E27FC236}">
                <a16:creationId xmlns:a16="http://schemas.microsoft.com/office/drawing/2014/main" id="{531FDE08-D5CB-BF2E-D806-74CD699241B8}"/>
              </a:ext>
            </a:extLst>
          </p:cNvPr>
          <p:cNvSpPr>
            <a:spLocks/>
          </p:cNvSpPr>
          <p:nvPr/>
        </p:nvSpPr>
        <p:spPr bwMode="auto">
          <a:xfrm>
            <a:off x="4902280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DEFB2B8F-742D-40F0-4CEF-D9A2DDFE8B5F}"/>
              </a:ext>
            </a:extLst>
          </p:cNvPr>
          <p:cNvSpPr>
            <a:spLocks/>
          </p:cNvSpPr>
          <p:nvPr/>
        </p:nvSpPr>
        <p:spPr bwMode="auto">
          <a:xfrm>
            <a:off x="4902280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E0BF8E-96E8-0B0E-DF62-65A8AF880465}"/>
              </a:ext>
            </a:extLst>
          </p:cNvPr>
          <p:cNvGrpSpPr/>
          <p:nvPr/>
        </p:nvGrpSpPr>
        <p:grpSpPr>
          <a:xfrm>
            <a:off x="7575630" y="2973138"/>
            <a:ext cx="201455" cy="896164"/>
            <a:chOff x="7601028" y="3176338"/>
            <a:chExt cx="201455" cy="896164"/>
          </a:xfrm>
          <a:solidFill>
            <a:srgbClr val="00B050"/>
          </a:solidFill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08520815-76B1-A6F7-D238-D28D26036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1763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BC142F2D-7522-CAFD-F63E-09B3B6981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413405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9" name="Freeform 4">
              <a:extLst>
                <a:ext uri="{FF2B5EF4-FFF2-40B4-BE49-F238E27FC236}">
                  <a16:creationId xmlns:a16="http://schemas.microsoft.com/office/drawing/2014/main" id="{055036BA-CEBA-EF68-5A24-939163AAB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650472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3C54313B-5D22-7786-2E4E-4D5A03428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1028" y="3887538"/>
              <a:ext cx="201455" cy="184964"/>
            </a:xfrm>
            <a:custGeom>
              <a:avLst/>
              <a:gdLst>
                <a:gd name="T0" fmla="*/ 174 w 641"/>
                <a:gd name="T1" fmla="*/ 589 h 589"/>
                <a:gd name="T2" fmla="*/ 139 w 641"/>
                <a:gd name="T3" fmla="*/ 533 h 589"/>
                <a:gd name="T4" fmla="*/ 98 w 641"/>
                <a:gd name="T5" fmla="*/ 423 h 589"/>
                <a:gd name="T6" fmla="*/ 74 w 641"/>
                <a:gd name="T7" fmla="*/ 377 h 589"/>
                <a:gd name="T8" fmla="*/ 0 w 641"/>
                <a:gd name="T9" fmla="*/ 342 h 589"/>
                <a:gd name="T10" fmla="*/ 98 w 641"/>
                <a:gd name="T11" fmla="*/ 291 h 589"/>
                <a:gd name="T12" fmla="*/ 187 w 641"/>
                <a:gd name="T13" fmla="*/ 406 h 589"/>
                <a:gd name="T14" fmla="*/ 189 w 641"/>
                <a:gd name="T15" fmla="*/ 417 h 589"/>
                <a:gd name="T16" fmla="*/ 641 w 641"/>
                <a:gd name="T17" fmla="*/ 0 h 589"/>
                <a:gd name="T18" fmla="*/ 540 w 641"/>
                <a:gd name="T19" fmla="*/ 73 h 589"/>
                <a:gd name="T20" fmla="*/ 319 w 641"/>
                <a:gd name="T21" fmla="*/ 364 h 589"/>
                <a:gd name="T22" fmla="*/ 234 w 641"/>
                <a:gd name="T23" fmla="*/ 524 h 589"/>
                <a:gd name="T24" fmla="*/ 183 w 641"/>
                <a:gd name="T25" fmla="*/ 589 h 589"/>
                <a:gd name="T26" fmla="*/ 174 w 641"/>
                <a:gd name="T2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1" h="589">
                  <a:moveTo>
                    <a:pt x="174" y="589"/>
                  </a:moveTo>
                  <a:cubicBezTo>
                    <a:pt x="162" y="570"/>
                    <a:pt x="148" y="553"/>
                    <a:pt x="139" y="533"/>
                  </a:cubicBezTo>
                  <a:cubicBezTo>
                    <a:pt x="124" y="497"/>
                    <a:pt x="113" y="459"/>
                    <a:pt x="98" y="423"/>
                  </a:cubicBezTo>
                  <a:cubicBezTo>
                    <a:pt x="92" y="407"/>
                    <a:pt x="84" y="391"/>
                    <a:pt x="74" y="377"/>
                  </a:cubicBezTo>
                  <a:cubicBezTo>
                    <a:pt x="56" y="353"/>
                    <a:pt x="31" y="340"/>
                    <a:pt x="0" y="342"/>
                  </a:cubicBezTo>
                  <a:cubicBezTo>
                    <a:pt x="11" y="293"/>
                    <a:pt x="53" y="271"/>
                    <a:pt x="98" y="291"/>
                  </a:cubicBezTo>
                  <a:cubicBezTo>
                    <a:pt x="148" y="313"/>
                    <a:pt x="174" y="355"/>
                    <a:pt x="187" y="406"/>
                  </a:cubicBezTo>
                  <a:cubicBezTo>
                    <a:pt x="188" y="409"/>
                    <a:pt x="188" y="412"/>
                    <a:pt x="189" y="417"/>
                  </a:cubicBezTo>
                  <a:cubicBezTo>
                    <a:pt x="283" y="213"/>
                    <a:pt x="408" y="47"/>
                    <a:pt x="641" y="0"/>
                  </a:cubicBezTo>
                  <a:cubicBezTo>
                    <a:pt x="607" y="24"/>
                    <a:pt x="572" y="47"/>
                    <a:pt x="540" y="73"/>
                  </a:cubicBezTo>
                  <a:cubicBezTo>
                    <a:pt x="443" y="152"/>
                    <a:pt x="376" y="254"/>
                    <a:pt x="319" y="364"/>
                  </a:cubicBezTo>
                  <a:cubicBezTo>
                    <a:pt x="291" y="417"/>
                    <a:pt x="264" y="472"/>
                    <a:pt x="234" y="524"/>
                  </a:cubicBezTo>
                  <a:cubicBezTo>
                    <a:pt x="220" y="548"/>
                    <a:pt x="200" y="567"/>
                    <a:pt x="183" y="589"/>
                  </a:cubicBezTo>
                  <a:cubicBezTo>
                    <a:pt x="180" y="589"/>
                    <a:pt x="177" y="589"/>
                    <a:pt x="17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1" name="Freeform 4">
            <a:extLst>
              <a:ext uri="{FF2B5EF4-FFF2-40B4-BE49-F238E27FC236}">
                <a16:creationId xmlns:a16="http://schemas.microsoft.com/office/drawing/2014/main" id="{B760514E-7D3E-EBB9-0B29-952278C08287}"/>
              </a:ext>
            </a:extLst>
          </p:cNvPr>
          <p:cNvSpPr>
            <a:spLocks/>
          </p:cNvSpPr>
          <p:nvPr/>
        </p:nvSpPr>
        <p:spPr bwMode="auto">
          <a:xfrm>
            <a:off x="10296603" y="29731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E34F5588-15AA-26C1-2264-AA6CCFB771F5}"/>
              </a:ext>
            </a:extLst>
          </p:cNvPr>
          <p:cNvSpPr>
            <a:spLocks/>
          </p:cNvSpPr>
          <p:nvPr/>
        </p:nvSpPr>
        <p:spPr bwMode="auto">
          <a:xfrm>
            <a:off x="10296603" y="3210205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Freeform 4">
            <a:extLst>
              <a:ext uri="{FF2B5EF4-FFF2-40B4-BE49-F238E27FC236}">
                <a16:creationId xmlns:a16="http://schemas.microsoft.com/office/drawing/2014/main" id="{9EC9ED59-26DF-E56B-544C-143EFBFBF21E}"/>
              </a:ext>
            </a:extLst>
          </p:cNvPr>
          <p:cNvSpPr>
            <a:spLocks/>
          </p:cNvSpPr>
          <p:nvPr/>
        </p:nvSpPr>
        <p:spPr bwMode="auto">
          <a:xfrm>
            <a:off x="10296603" y="3447272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Freeform 4">
            <a:extLst>
              <a:ext uri="{FF2B5EF4-FFF2-40B4-BE49-F238E27FC236}">
                <a16:creationId xmlns:a16="http://schemas.microsoft.com/office/drawing/2014/main" id="{13705770-F89E-1A47-FF7D-75A9A8565DAC}"/>
              </a:ext>
            </a:extLst>
          </p:cNvPr>
          <p:cNvSpPr>
            <a:spLocks/>
          </p:cNvSpPr>
          <p:nvPr/>
        </p:nvSpPr>
        <p:spPr bwMode="auto">
          <a:xfrm>
            <a:off x="10296603" y="36843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06B90586-D9BB-8F70-1922-6594801561B4}"/>
              </a:ext>
            </a:extLst>
          </p:cNvPr>
          <p:cNvSpPr>
            <a:spLocks/>
          </p:cNvSpPr>
          <p:nvPr/>
        </p:nvSpPr>
        <p:spPr bwMode="auto">
          <a:xfrm>
            <a:off x="10296603" y="440823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Freeform 4">
            <a:extLst>
              <a:ext uri="{FF2B5EF4-FFF2-40B4-BE49-F238E27FC236}">
                <a16:creationId xmlns:a16="http://schemas.microsoft.com/office/drawing/2014/main" id="{1061CB0F-FAB8-E4F6-8D93-BA5035548D4F}"/>
              </a:ext>
            </a:extLst>
          </p:cNvPr>
          <p:cNvSpPr>
            <a:spLocks/>
          </p:cNvSpPr>
          <p:nvPr/>
        </p:nvSpPr>
        <p:spPr bwMode="auto">
          <a:xfrm>
            <a:off x="10296603" y="4884488"/>
            <a:ext cx="201455" cy="184964"/>
          </a:xfrm>
          <a:custGeom>
            <a:avLst/>
            <a:gdLst>
              <a:gd name="T0" fmla="*/ 174 w 641"/>
              <a:gd name="T1" fmla="*/ 589 h 589"/>
              <a:gd name="T2" fmla="*/ 139 w 641"/>
              <a:gd name="T3" fmla="*/ 533 h 589"/>
              <a:gd name="T4" fmla="*/ 98 w 641"/>
              <a:gd name="T5" fmla="*/ 423 h 589"/>
              <a:gd name="T6" fmla="*/ 74 w 641"/>
              <a:gd name="T7" fmla="*/ 377 h 589"/>
              <a:gd name="T8" fmla="*/ 0 w 641"/>
              <a:gd name="T9" fmla="*/ 342 h 589"/>
              <a:gd name="T10" fmla="*/ 98 w 641"/>
              <a:gd name="T11" fmla="*/ 291 h 589"/>
              <a:gd name="T12" fmla="*/ 187 w 641"/>
              <a:gd name="T13" fmla="*/ 406 h 589"/>
              <a:gd name="T14" fmla="*/ 189 w 641"/>
              <a:gd name="T15" fmla="*/ 417 h 589"/>
              <a:gd name="T16" fmla="*/ 641 w 641"/>
              <a:gd name="T17" fmla="*/ 0 h 589"/>
              <a:gd name="T18" fmla="*/ 540 w 641"/>
              <a:gd name="T19" fmla="*/ 73 h 589"/>
              <a:gd name="T20" fmla="*/ 319 w 641"/>
              <a:gd name="T21" fmla="*/ 364 h 589"/>
              <a:gd name="T22" fmla="*/ 234 w 641"/>
              <a:gd name="T23" fmla="*/ 524 h 589"/>
              <a:gd name="T24" fmla="*/ 183 w 641"/>
              <a:gd name="T25" fmla="*/ 589 h 589"/>
              <a:gd name="T26" fmla="*/ 174 w 641"/>
              <a:gd name="T27" fmla="*/ 589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1" h="589">
                <a:moveTo>
                  <a:pt x="174" y="589"/>
                </a:moveTo>
                <a:cubicBezTo>
                  <a:pt x="162" y="570"/>
                  <a:pt x="148" y="553"/>
                  <a:pt x="139" y="533"/>
                </a:cubicBezTo>
                <a:cubicBezTo>
                  <a:pt x="124" y="497"/>
                  <a:pt x="113" y="459"/>
                  <a:pt x="98" y="423"/>
                </a:cubicBezTo>
                <a:cubicBezTo>
                  <a:pt x="92" y="407"/>
                  <a:pt x="84" y="391"/>
                  <a:pt x="74" y="377"/>
                </a:cubicBezTo>
                <a:cubicBezTo>
                  <a:pt x="56" y="353"/>
                  <a:pt x="31" y="340"/>
                  <a:pt x="0" y="342"/>
                </a:cubicBezTo>
                <a:cubicBezTo>
                  <a:pt x="11" y="293"/>
                  <a:pt x="53" y="271"/>
                  <a:pt x="98" y="291"/>
                </a:cubicBezTo>
                <a:cubicBezTo>
                  <a:pt x="148" y="313"/>
                  <a:pt x="174" y="355"/>
                  <a:pt x="187" y="406"/>
                </a:cubicBezTo>
                <a:cubicBezTo>
                  <a:pt x="188" y="409"/>
                  <a:pt x="188" y="412"/>
                  <a:pt x="189" y="417"/>
                </a:cubicBezTo>
                <a:cubicBezTo>
                  <a:pt x="283" y="213"/>
                  <a:pt x="408" y="47"/>
                  <a:pt x="641" y="0"/>
                </a:cubicBezTo>
                <a:cubicBezTo>
                  <a:pt x="607" y="24"/>
                  <a:pt x="572" y="47"/>
                  <a:pt x="540" y="73"/>
                </a:cubicBezTo>
                <a:cubicBezTo>
                  <a:pt x="443" y="152"/>
                  <a:pt x="376" y="254"/>
                  <a:pt x="319" y="364"/>
                </a:cubicBezTo>
                <a:cubicBezTo>
                  <a:pt x="291" y="417"/>
                  <a:pt x="264" y="472"/>
                  <a:pt x="234" y="524"/>
                </a:cubicBezTo>
                <a:cubicBezTo>
                  <a:pt x="220" y="548"/>
                  <a:pt x="200" y="567"/>
                  <a:pt x="183" y="589"/>
                </a:cubicBezTo>
                <a:cubicBezTo>
                  <a:pt x="180" y="589"/>
                  <a:pt x="177" y="589"/>
                  <a:pt x="174" y="589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1F659775-F221-5446-E8E4-ED9A70BF99C2}"/>
              </a:ext>
            </a:extLst>
          </p:cNvPr>
          <p:cNvSpPr>
            <a:spLocks/>
          </p:cNvSpPr>
          <p:nvPr/>
        </p:nvSpPr>
        <p:spPr bwMode="auto">
          <a:xfrm>
            <a:off x="4931609" y="396139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8" name="Freeform 8">
            <a:extLst>
              <a:ext uri="{FF2B5EF4-FFF2-40B4-BE49-F238E27FC236}">
                <a16:creationId xmlns:a16="http://schemas.microsoft.com/office/drawing/2014/main" id="{99C408BA-B165-7590-0A7D-99CE2DF28B6E}"/>
              </a:ext>
            </a:extLst>
          </p:cNvPr>
          <p:cNvSpPr>
            <a:spLocks/>
          </p:cNvSpPr>
          <p:nvPr/>
        </p:nvSpPr>
        <p:spPr bwMode="auto">
          <a:xfrm>
            <a:off x="493160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Freeform 8">
            <a:extLst>
              <a:ext uri="{FF2B5EF4-FFF2-40B4-BE49-F238E27FC236}">
                <a16:creationId xmlns:a16="http://schemas.microsoft.com/office/drawing/2014/main" id="{2E98B94C-3176-F583-1DA5-720514B89ABA}"/>
              </a:ext>
            </a:extLst>
          </p:cNvPr>
          <p:cNvSpPr>
            <a:spLocks/>
          </p:cNvSpPr>
          <p:nvPr/>
        </p:nvSpPr>
        <p:spPr bwMode="auto">
          <a:xfrm>
            <a:off x="4931609" y="467957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39113359-BF7F-582E-1BD7-61A6F74FAB9C}"/>
              </a:ext>
            </a:extLst>
          </p:cNvPr>
          <p:cNvSpPr>
            <a:spLocks/>
          </p:cNvSpPr>
          <p:nvPr/>
        </p:nvSpPr>
        <p:spPr bwMode="auto">
          <a:xfrm>
            <a:off x="493160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A5D5717E-67E0-666E-71DC-5B6B7F3A2CE2}"/>
              </a:ext>
            </a:extLst>
          </p:cNvPr>
          <p:cNvSpPr>
            <a:spLocks/>
          </p:cNvSpPr>
          <p:nvPr/>
        </p:nvSpPr>
        <p:spPr bwMode="auto">
          <a:xfrm>
            <a:off x="4931609" y="516344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Freeform 8">
            <a:extLst>
              <a:ext uri="{FF2B5EF4-FFF2-40B4-BE49-F238E27FC236}">
                <a16:creationId xmlns:a16="http://schemas.microsoft.com/office/drawing/2014/main" id="{40E05CC2-1C13-21D5-D17C-7A1AB6DBB0BD}"/>
              </a:ext>
            </a:extLst>
          </p:cNvPr>
          <p:cNvSpPr>
            <a:spLocks/>
          </p:cNvSpPr>
          <p:nvPr/>
        </p:nvSpPr>
        <p:spPr bwMode="auto">
          <a:xfrm>
            <a:off x="4931609" y="540538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251DA6AC-8091-D7E2-7961-4B18C8B844AD}"/>
              </a:ext>
            </a:extLst>
          </p:cNvPr>
          <p:cNvSpPr>
            <a:spLocks/>
          </p:cNvSpPr>
          <p:nvPr/>
        </p:nvSpPr>
        <p:spPr bwMode="auto">
          <a:xfrm>
            <a:off x="4931609" y="5647318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4" name="Freeform 8">
            <a:extLst>
              <a:ext uri="{FF2B5EF4-FFF2-40B4-BE49-F238E27FC236}">
                <a16:creationId xmlns:a16="http://schemas.microsoft.com/office/drawing/2014/main" id="{AF13F632-DC53-4ED5-4100-D0A837B8FF5C}"/>
              </a:ext>
            </a:extLst>
          </p:cNvPr>
          <p:cNvSpPr>
            <a:spLocks/>
          </p:cNvSpPr>
          <p:nvPr/>
        </p:nvSpPr>
        <p:spPr bwMode="auto">
          <a:xfrm>
            <a:off x="7604959" y="443764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Freeform 8">
            <a:extLst>
              <a:ext uri="{FF2B5EF4-FFF2-40B4-BE49-F238E27FC236}">
                <a16:creationId xmlns:a16="http://schemas.microsoft.com/office/drawing/2014/main" id="{1C57AA2F-1CD7-D188-BC58-A5F7E83A3BA3}"/>
              </a:ext>
            </a:extLst>
          </p:cNvPr>
          <p:cNvSpPr>
            <a:spLocks/>
          </p:cNvSpPr>
          <p:nvPr/>
        </p:nvSpPr>
        <p:spPr bwMode="auto">
          <a:xfrm>
            <a:off x="7604959" y="4921513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F54060B-A18C-5445-4168-1E3119630BA1}"/>
              </a:ext>
            </a:extLst>
          </p:cNvPr>
          <p:cNvSpPr/>
          <p:nvPr/>
        </p:nvSpPr>
        <p:spPr>
          <a:xfrm>
            <a:off x="442912" y="6007100"/>
            <a:ext cx="6466114" cy="466006"/>
          </a:xfrm>
          <a:prstGeom prst="rect">
            <a:avLst/>
          </a:prstGeom>
          <a:noFill/>
          <a:ln w="1798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EF7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hoose our bundled packages to get discount up to 30%</a:t>
            </a:r>
          </a:p>
        </p:txBody>
      </p:sp>
      <p:sp>
        <p:nvSpPr>
          <p:cNvPr id="37" name="Freeform 8">
            <a:extLst>
              <a:ext uri="{FF2B5EF4-FFF2-40B4-BE49-F238E27FC236}">
                <a16:creationId xmlns:a16="http://schemas.microsoft.com/office/drawing/2014/main" id="{139F6DC8-B31D-05B5-EF1A-B8D6C147061E}"/>
              </a:ext>
            </a:extLst>
          </p:cNvPr>
          <p:cNvSpPr>
            <a:spLocks/>
          </p:cNvSpPr>
          <p:nvPr/>
        </p:nvSpPr>
        <p:spPr bwMode="auto">
          <a:xfrm>
            <a:off x="4928361" y="4201345"/>
            <a:ext cx="142797" cy="152263"/>
          </a:xfrm>
          <a:custGeom>
            <a:avLst/>
            <a:gdLst>
              <a:gd name="T0" fmla="*/ 935 w 1969"/>
              <a:gd name="T1" fmla="*/ 1382 h 2099"/>
              <a:gd name="T2" fmla="*/ 768 w 1969"/>
              <a:gd name="T3" fmla="*/ 1627 h 2099"/>
              <a:gd name="T4" fmla="*/ 542 w 1969"/>
              <a:gd name="T5" fmla="*/ 1973 h 2099"/>
              <a:gd name="T6" fmla="*/ 407 w 1969"/>
              <a:gd name="T7" fmla="*/ 2074 h 2099"/>
              <a:gd name="T8" fmla="*/ 198 w 1969"/>
              <a:gd name="T9" fmla="*/ 2076 h 2099"/>
              <a:gd name="T10" fmla="*/ 102 w 1969"/>
              <a:gd name="T11" fmla="*/ 1911 h 2099"/>
              <a:gd name="T12" fmla="*/ 206 w 1969"/>
              <a:gd name="T13" fmla="*/ 1658 h 2099"/>
              <a:gd name="T14" fmla="*/ 516 w 1969"/>
              <a:gd name="T15" fmla="*/ 1218 h 2099"/>
              <a:gd name="T16" fmla="*/ 633 w 1969"/>
              <a:gd name="T17" fmla="*/ 1076 h 2099"/>
              <a:gd name="T18" fmla="*/ 598 w 1969"/>
              <a:gd name="T19" fmla="*/ 1037 h 2099"/>
              <a:gd name="T20" fmla="*/ 272 w 1969"/>
              <a:gd name="T21" fmla="*/ 677 h 2099"/>
              <a:gd name="T22" fmla="*/ 45 w 1969"/>
              <a:gd name="T23" fmla="*/ 406 h 2099"/>
              <a:gd name="T24" fmla="*/ 1 w 1969"/>
              <a:gd name="T25" fmla="*/ 244 h 2099"/>
              <a:gd name="T26" fmla="*/ 50 w 1969"/>
              <a:gd name="T27" fmla="*/ 66 h 2099"/>
              <a:gd name="T28" fmla="*/ 191 w 1969"/>
              <a:gd name="T29" fmla="*/ 51 h 2099"/>
              <a:gd name="T30" fmla="*/ 276 w 1969"/>
              <a:gd name="T31" fmla="*/ 151 h 2099"/>
              <a:gd name="T32" fmla="*/ 560 w 1969"/>
              <a:gd name="T33" fmla="*/ 466 h 2099"/>
              <a:gd name="T34" fmla="*/ 869 w 1969"/>
              <a:gd name="T35" fmla="*/ 767 h 2099"/>
              <a:gd name="T36" fmla="*/ 890 w 1969"/>
              <a:gd name="T37" fmla="*/ 785 h 2099"/>
              <a:gd name="T38" fmla="*/ 988 w 1969"/>
              <a:gd name="T39" fmla="*/ 680 h 2099"/>
              <a:gd name="T40" fmla="*/ 1492 w 1969"/>
              <a:gd name="T41" fmla="*/ 178 h 2099"/>
              <a:gd name="T42" fmla="*/ 1564 w 1969"/>
              <a:gd name="T43" fmla="*/ 111 h 2099"/>
              <a:gd name="T44" fmla="*/ 1694 w 1969"/>
              <a:gd name="T45" fmla="*/ 57 h 2099"/>
              <a:gd name="T46" fmla="*/ 1884 w 1969"/>
              <a:gd name="T47" fmla="*/ 81 h 2099"/>
              <a:gd name="T48" fmla="*/ 1941 w 1969"/>
              <a:gd name="T49" fmla="*/ 120 h 2099"/>
              <a:gd name="T50" fmla="*/ 1945 w 1969"/>
              <a:gd name="T51" fmla="*/ 212 h 2099"/>
              <a:gd name="T52" fmla="*/ 1873 w 1969"/>
              <a:gd name="T53" fmla="*/ 289 h 2099"/>
              <a:gd name="T54" fmla="*/ 1428 w 1969"/>
              <a:gd name="T55" fmla="*/ 750 h 2099"/>
              <a:gd name="T56" fmla="*/ 1194 w 1969"/>
              <a:gd name="T57" fmla="*/ 1034 h 2099"/>
              <a:gd name="T58" fmla="*/ 1186 w 1969"/>
              <a:gd name="T59" fmla="*/ 1046 h 2099"/>
              <a:gd name="T60" fmla="*/ 1696 w 1969"/>
              <a:gd name="T61" fmla="*/ 1436 h 2099"/>
              <a:gd name="T62" fmla="*/ 1864 w 1969"/>
              <a:gd name="T63" fmla="*/ 1558 h 2099"/>
              <a:gd name="T64" fmla="*/ 1923 w 1969"/>
              <a:gd name="T65" fmla="*/ 1642 h 2099"/>
              <a:gd name="T66" fmla="*/ 1932 w 1969"/>
              <a:gd name="T67" fmla="*/ 1875 h 2099"/>
              <a:gd name="T68" fmla="*/ 1749 w 1969"/>
              <a:gd name="T69" fmla="*/ 1978 h 2099"/>
              <a:gd name="T70" fmla="*/ 1512 w 1969"/>
              <a:gd name="T71" fmla="*/ 1863 h 2099"/>
              <a:gd name="T72" fmla="*/ 1162 w 1969"/>
              <a:gd name="T73" fmla="*/ 1589 h 2099"/>
              <a:gd name="T74" fmla="*/ 942 w 1969"/>
              <a:gd name="T75" fmla="*/ 1386 h 2099"/>
              <a:gd name="T76" fmla="*/ 935 w 1969"/>
              <a:gd name="T77" fmla="*/ 1382 h 2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69" h="2099">
                <a:moveTo>
                  <a:pt x="935" y="1382"/>
                </a:moveTo>
                <a:cubicBezTo>
                  <a:pt x="879" y="1464"/>
                  <a:pt x="822" y="1545"/>
                  <a:pt x="768" y="1627"/>
                </a:cubicBezTo>
                <a:cubicBezTo>
                  <a:pt x="692" y="1742"/>
                  <a:pt x="615" y="1856"/>
                  <a:pt x="542" y="1973"/>
                </a:cubicBezTo>
                <a:cubicBezTo>
                  <a:pt x="510" y="2026"/>
                  <a:pt x="465" y="2058"/>
                  <a:pt x="407" y="2074"/>
                </a:cubicBezTo>
                <a:cubicBezTo>
                  <a:pt x="338" y="2094"/>
                  <a:pt x="267" y="2099"/>
                  <a:pt x="198" y="2076"/>
                </a:cubicBezTo>
                <a:cubicBezTo>
                  <a:pt x="104" y="2045"/>
                  <a:pt x="90" y="1985"/>
                  <a:pt x="102" y="1911"/>
                </a:cubicBezTo>
                <a:cubicBezTo>
                  <a:pt x="117" y="1819"/>
                  <a:pt x="160" y="1737"/>
                  <a:pt x="206" y="1658"/>
                </a:cubicBezTo>
                <a:cubicBezTo>
                  <a:pt x="296" y="1502"/>
                  <a:pt x="404" y="1359"/>
                  <a:pt x="516" y="1218"/>
                </a:cubicBezTo>
                <a:cubicBezTo>
                  <a:pt x="554" y="1171"/>
                  <a:pt x="593" y="1125"/>
                  <a:pt x="633" y="1076"/>
                </a:cubicBezTo>
                <a:cubicBezTo>
                  <a:pt x="621" y="1064"/>
                  <a:pt x="609" y="1050"/>
                  <a:pt x="598" y="1037"/>
                </a:cubicBezTo>
                <a:cubicBezTo>
                  <a:pt x="489" y="917"/>
                  <a:pt x="379" y="799"/>
                  <a:pt x="272" y="677"/>
                </a:cubicBezTo>
                <a:cubicBezTo>
                  <a:pt x="194" y="589"/>
                  <a:pt x="120" y="497"/>
                  <a:pt x="45" y="406"/>
                </a:cubicBezTo>
                <a:cubicBezTo>
                  <a:pt x="7" y="359"/>
                  <a:pt x="0" y="302"/>
                  <a:pt x="1" y="244"/>
                </a:cubicBezTo>
                <a:cubicBezTo>
                  <a:pt x="3" y="181"/>
                  <a:pt x="14" y="120"/>
                  <a:pt x="50" y="66"/>
                </a:cubicBezTo>
                <a:cubicBezTo>
                  <a:pt x="89" y="6"/>
                  <a:pt x="141" y="0"/>
                  <a:pt x="191" y="51"/>
                </a:cubicBezTo>
                <a:cubicBezTo>
                  <a:pt x="222" y="82"/>
                  <a:pt x="247" y="118"/>
                  <a:pt x="276" y="151"/>
                </a:cubicBezTo>
                <a:cubicBezTo>
                  <a:pt x="370" y="257"/>
                  <a:pt x="462" y="364"/>
                  <a:pt x="560" y="466"/>
                </a:cubicBezTo>
                <a:cubicBezTo>
                  <a:pt x="659" y="569"/>
                  <a:pt x="766" y="667"/>
                  <a:pt x="869" y="767"/>
                </a:cubicBezTo>
                <a:cubicBezTo>
                  <a:pt x="875" y="773"/>
                  <a:pt x="882" y="778"/>
                  <a:pt x="890" y="785"/>
                </a:cubicBezTo>
                <a:cubicBezTo>
                  <a:pt x="923" y="750"/>
                  <a:pt x="955" y="714"/>
                  <a:pt x="988" y="680"/>
                </a:cubicBezTo>
                <a:cubicBezTo>
                  <a:pt x="1156" y="513"/>
                  <a:pt x="1324" y="345"/>
                  <a:pt x="1492" y="178"/>
                </a:cubicBezTo>
                <a:cubicBezTo>
                  <a:pt x="1515" y="155"/>
                  <a:pt x="1540" y="134"/>
                  <a:pt x="1564" y="111"/>
                </a:cubicBezTo>
                <a:cubicBezTo>
                  <a:pt x="1600" y="77"/>
                  <a:pt x="1646" y="62"/>
                  <a:pt x="1694" y="57"/>
                </a:cubicBezTo>
                <a:cubicBezTo>
                  <a:pt x="1759" y="50"/>
                  <a:pt x="1823" y="54"/>
                  <a:pt x="1884" y="81"/>
                </a:cubicBezTo>
                <a:cubicBezTo>
                  <a:pt x="1904" y="90"/>
                  <a:pt x="1925" y="104"/>
                  <a:pt x="1941" y="120"/>
                </a:cubicBezTo>
                <a:cubicBezTo>
                  <a:pt x="1967" y="145"/>
                  <a:pt x="1969" y="181"/>
                  <a:pt x="1945" y="212"/>
                </a:cubicBezTo>
                <a:cubicBezTo>
                  <a:pt x="1924" y="240"/>
                  <a:pt x="1899" y="265"/>
                  <a:pt x="1873" y="289"/>
                </a:cubicBezTo>
                <a:cubicBezTo>
                  <a:pt x="1715" y="434"/>
                  <a:pt x="1567" y="587"/>
                  <a:pt x="1428" y="750"/>
                </a:cubicBezTo>
                <a:cubicBezTo>
                  <a:pt x="1349" y="844"/>
                  <a:pt x="1272" y="939"/>
                  <a:pt x="1194" y="1034"/>
                </a:cubicBezTo>
                <a:cubicBezTo>
                  <a:pt x="1192" y="1036"/>
                  <a:pt x="1191" y="1039"/>
                  <a:pt x="1186" y="1046"/>
                </a:cubicBezTo>
                <a:cubicBezTo>
                  <a:pt x="1356" y="1176"/>
                  <a:pt x="1526" y="1306"/>
                  <a:pt x="1696" y="1436"/>
                </a:cubicBezTo>
                <a:cubicBezTo>
                  <a:pt x="1751" y="1478"/>
                  <a:pt x="1808" y="1518"/>
                  <a:pt x="1864" y="1558"/>
                </a:cubicBezTo>
                <a:cubicBezTo>
                  <a:pt x="1892" y="1580"/>
                  <a:pt x="1911" y="1609"/>
                  <a:pt x="1923" y="1642"/>
                </a:cubicBezTo>
                <a:cubicBezTo>
                  <a:pt x="1950" y="1718"/>
                  <a:pt x="1955" y="1796"/>
                  <a:pt x="1932" y="1875"/>
                </a:cubicBezTo>
                <a:cubicBezTo>
                  <a:pt x="1905" y="1967"/>
                  <a:pt x="1842" y="2002"/>
                  <a:pt x="1749" y="1978"/>
                </a:cubicBezTo>
                <a:cubicBezTo>
                  <a:pt x="1662" y="1956"/>
                  <a:pt x="1586" y="1911"/>
                  <a:pt x="1512" y="1863"/>
                </a:cubicBezTo>
                <a:cubicBezTo>
                  <a:pt x="1388" y="1781"/>
                  <a:pt x="1273" y="1687"/>
                  <a:pt x="1162" y="1589"/>
                </a:cubicBezTo>
                <a:cubicBezTo>
                  <a:pt x="1088" y="1522"/>
                  <a:pt x="1015" y="1454"/>
                  <a:pt x="942" y="1386"/>
                </a:cubicBezTo>
                <a:cubicBezTo>
                  <a:pt x="940" y="1385"/>
                  <a:pt x="939" y="1384"/>
                  <a:pt x="935" y="138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673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239B205D-C6D9-A7D7-C0A2-6FFE7C03A7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239B205D-C6D9-A7D7-C0A2-6FFE7C03A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ECE10577-765E-7784-30CF-E0269F3C7566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C6FE880-115D-11CB-05BE-D485A04115B4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EE04377-17D4-E0D1-601D-23F465C5AED8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434D2A4-9C41-03CC-F112-B47F5CDD716E}"/>
              </a:ext>
            </a:extLst>
          </p:cNvPr>
          <p:cNvSpPr/>
          <p:nvPr/>
        </p:nvSpPr>
        <p:spPr>
          <a:xfrm>
            <a:off x="442914" y="1155699"/>
            <a:ext cx="11306174" cy="4889501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8DFA66-6BAC-94D0-A5D2-0FE3948DA30D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cka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CFB087-E050-39BE-7E96-3353F46C08AC}"/>
              </a:ext>
            </a:extLst>
          </p:cNvPr>
          <p:cNvSpPr txBox="1"/>
          <p:nvPr/>
        </p:nvSpPr>
        <p:spPr>
          <a:xfrm>
            <a:off x="5851525" y="1295397"/>
            <a:ext cx="30734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ndle Plans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3565FE8-7E33-483A-BA37-3BC505A2C3F7}"/>
              </a:ext>
            </a:extLst>
          </p:cNvPr>
          <p:cNvSpPr/>
          <p:nvPr/>
        </p:nvSpPr>
        <p:spPr>
          <a:xfrm>
            <a:off x="37846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EE7BCE8-A543-7D91-043D-504EFCF07D99}"/>
              </a:ext>
            </a:extLst>
          </p:cNvPr>
          <p:cNvSpPr/>
          <p:nvPr/>
        </p:nvSpPr>
        <p:spPr>
          <a:xfrm>
            <a:off x="645795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3707065-7172-4C15-29A3-205F487D3B2E}"/>
              </a:ext>
            </a:extLst>
          </p:cNvPr>
          <p:cNvSpPr/>
          <p:nvPr/>
        </p:nvSpPr>
        <p:spPr>
          <a:xfrm>
            <a:off x="91313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28FCF96E-EA31-E10F-E1CF-145C49C463FA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6B02F9C6-DD89-A94B-6170-588F21D4FB7B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9AC21003-5CD9-10ED-52B4-3A47483BD81B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2A363AA-968B-1AED-5579-D9D771855F31}"/>
              </a:ext>
            </a:extLst>
          </p:cNvPr>
          <p:cNvSpPr/>
          <p:nvPr/>
        </p:nvSpPr>
        <p:spPr>
          <a:xfrm>
            <a:off x="622300" y="5457825"/>
            <a:ext cx="10945814" cy="1273175"/>
          </a:xfrm>
          <a:prstGeom prst="roundRect">
            <a:avLst>
              <a:gd name="adj" fmla="val 7800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259F539-1AAB-261A-4AD0-395ADA13E8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40194"/>
              </p:ext>
            </p:extLst>
          </p:nvPr>
        </p:nvGraphicFramePr>
        <p:xfrm>
          <a:off x="622300" y="1841500"/>
          <a:ext cx="10858501" cy="2378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kage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miu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,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,00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,00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ly Ra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2.5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lidit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Ye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Ye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Ye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ximum Capacity per day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Hours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IN" sz="11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ours</a:t>
                      </a:r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very Tim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dicated Account Manag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14C3D408-4D23-FA33-10E1-EC75B871118D}"/>
              </a:ext>
            </a:extLst>
          </p:cNvPr>
          <p:cNvSpPr txBox="1"/>
          <p:nvPr/>
        </p:nvSpPr>
        <p:spPr>
          <a:xfrm>
            <a:off x="740217" y="5878969"/>
            <a:ext cx="16669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lides/hour based on complexity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C18EC09-0D8E-E72B-9B57-DB4546A55172}"/>
              </a:ext>
            </a:extLst>
          </p:cNvPr>
          <p:cNvSpPr/>
          <p:nvPr/>
        </p:nvSpPr>
        <p:spPr>
          <a:xfrm>
            <a:off x="3576639" y="1674317"/>
            <a:ext cx="775173" cy="776189"/>
          </a:xfrm>
          <a:prstGeom prst="ellipse">
            <a:avLst/>
          </a:prstGeom>
          <a:solidFill>
            <a:schemeClr val="bg1"/>
          </a:solidFill>
          <a:ln w="17986" cap="flat">
            <a:solidFill>
              <a:schemeClr val="accent1"/>
            </a:solidFill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0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94121EE-6DD7-110A-BD48-2B774193B6BF}"/>
              </a:ext>
            </a:extLst>
          </p:cNvPr>
          <p:cNvSpPr/>
          <p:nvPr/>
        </p:nvSpPr>
        <p:spPr>
          <a:xfrm>
            <a:off x="6257925" y="1674317"/>
            <a:ext cx="775173" cy="776189"/>
          </a:xfrm>
          <a:prstGeom prst="ellipse">
            <a:avLst/>
          </a:prstGeom>
          <a:solidFill>
            <a:schemeClr val="bg1"/>
          </a:solidFill>
          <a:ln w="17986" cap="flat">
            <a:solidFill>
              <a:schemeClr val="accent1"/>
            </a:solidFill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5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3499138-FF31-9A05-AE69-0756FBFC3F41}"/>
              </a:ext>
            </a:extLst>
          </p:cNvPr>
          <p:cNvSpPr/>
          <p:nvPr/>
        </p:nvSpPr>
        <p:spPr>
          <a:xfrm>
            <a:off x="8924925" y="1674317"/>
            <a:ext cx="775173" cy="776189"/>
          </a:xfrm>
          <a:prstGeom prst="ellipse">
            <a:avLst/>
          </a:prstGeom>
          <a:solidFill>
            <a:schemeClr val="bg1"/>
          </a:solidFill>
          <a:ln w="17986" cap="flat">
            <a:solidFill>
              <a:schemeClr val="accent1"/>
            </a:solidFill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33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5B6DFDD-6616-443B-ACFB-1A2942B29B36}"/>
              </a:ext>
            </a:extLst>
          </p:cNvPr>
          <p:cNvSpPr/>
          <p:nvPr/>
        </p:nvSpPr>
        <p:spPr>
          <a:xfrm>
            <a:off x="3638550" y="1666658"/>
            <a:ext cx="775173" cy="776189"/>
          </a:xfrm>
          <a:prstGeom prst="ellipse">
            <a:avLst/>
          </a:prstGeom>
          <a:solidFill>
            <a:schemeClr val="accent1"/>
          </a:solidFill>
          <a:ln w="17986" cap="flat">
            <a:noFill/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0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68D3796-2B9F-F708-B1E4-FC8B2445944C}"/>
              </a:ext>
            </a:extLst>
          </p:cNvPr>
          <p:cNvSpPr/>
          <p:nvPr/>
        </p:nvSpPr>
        <p:spPr>
          <a:xfrm>
            <a:off x="6305550" y="1666658"/>
            <a:ext cx="775173" cy="776189"/>
          </a:xfrm>
          <a:prstGeom prst="ellipse">
            <a:avLst/>
          </a:prstGeom>
          <a:solidFill>
            <a:schemeClr val="accent1"/>
          </a:solidFill>
          <a:ln w="17986" cap="flat">
            <a:noFill/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5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89C6B29-638D-9882-4C3D-3A6EB48EF61F}"/>
              </a:ext>
            </a:extLst>
          </p:cNvPr>
          <p:cNvSpPr/>
          <p:nvPr/>
        </p:nvSpPr>
        <p:spPr>
          <a:xfrm>
            <a:off x="8972550" y="1666658"/>
            <a:ext cx="775173" cy="776189"/>
          </a:xfrm>
          <a:prstGeom prst="ellipse">
            <a:avLst/>
          </a:prstGeom>
          <a:solidFill>
            <a:schemeClr val="accent1"/>
          </a:solidFill>
          <a:ln w="17986" cap="flat">
            <a:noFill/>
            <a:prstDash val="solid"/>
            <a:miter/>
          </a:ln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av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30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C05587F-847A-EA76-78A0-4968875678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951257"/>
              </p:ext>
            </p:extLst>
          </p:nvPr>
        </p:nvGraphicFramePr>
        <p:xfrm>
          <a:off x="2525039" y="5541962"/>
          <a:ext cx="5565332" cy="11049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2666">
                  <a:extLst>
                    <a:ext uri="{9D8B030D-6E8A-4147-A177-3AD203B41FA5}">
                      <a16:colId xmlns:a16="http://schemas.microsoft.com/office/drawing/2014/main" val="3189179541"/>
                    </a:ext>
                  </a:extLst>
                </a:gridCol>
                <a:gridCol w="2782666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</a:tblGrid>
              <a:tr h="27622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xity levels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lides per hou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305876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vel 1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Fast Track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8104559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vel 2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Standard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251449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vel 3</a:t>
                      </a:r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High Level Enhancement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1593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38808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49A459-EBDC-C9A6-2486-64CD251E8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31BD81C5-DAC9-046E-58A9-FD1D024C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239B205D-C6D9-A7D7-C0A2-6FFE7C03A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43B01382-7422-4BFA-56DA-93AE4018442B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99CB67D-D1A8-006C-70D1-3D6C7444339B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DC8CF8F-F040-9DEF-7115-380D90262E09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BB0B20F-E931-570C-42EF-A549D1D6DAEF}"/>
              </a:ext>
            </a:extLst>
          </p:cNvPr>
          <p:cNvSpPr/>
          <p:nvPr/>
        </p:nvSpPr>
        <p:spPr>
          <a:xfrm>
            <a:off x="442914" y="1155699"/>
            <a:ext cx="11306174" cy="4889501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63EA53-DB54-3F58-B9F7-1F932CB43154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icated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7A9131-D0D1-E51D-3DAC-1C10E9931FC7}"/>
              </a:ext>
            </a:extLst>
          </p:cNvPr>
          <p:cNvSpPr txBox="1"/>
          <p:nvPr/>
        </p:nvSpPr>
        <p:spPr>
          <a:xfrm>
            <a:off x="5851525" y="1295397"/>
            <a:ext cx="30734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thly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96D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22F585F-FAC5-2AA5-A918-C9CDEEC4E16B}"/>
              </a:ext>
            </a:extLst>
          </p:cNvPr>
          <p:cNvSpPr/>
          <p:nvPr/>
        </p:nvSpPr>
        <p:spPr>
          <a:xfrm>
            <a:off x="37846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67B032F-43FF-0F39-A110-BA11AE530334}"/>
              </a:ext>
            </a:extLst>
          </p:cNvPr>
          <p:cNvSpPr/>
          <p:nvPr/>
        </p:nvSpPr>
        <p:spPr>
          <a:xfrm>
            <a:off x="645795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E4A3AF3-0598-0B2A-1692-ABD83BF5051A}"/>
              </a:ext>
            </a:extLst>
          </p:cNvPr>
          <p:cNvSpPr/>
          <p:nvPr/>
        </p:nvSpPr>
        <p:spPr>
          <a:xfrm>
            <a:off x="91313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1E56CC08-8C57-62C7-DA36-ECB2601CCD7D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B05A45EF-2284-9003-48F3-650AA6D165BC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90C1540F-8921-DE84-4264-EECC2C0B4FA3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28CC973-5B72-4847-08F6-9384864786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891418"/>
              </p:ext>
            </p:extLst>
          </p:nvPr>
        </p:nvGraphicFramePr>
        <p:xfrm>
          <a:off x="622300" y="1841500"/>
          <a:ext cx="10858501" cy="2378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kage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44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5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ly Ra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Monthly Ho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ximum Capacity per day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Hours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IN" sz="11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ours</a:t>
                      </a:r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 Review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-Week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ek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dicated Project Manager Manag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066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32D515-4779-68FA-3A1B-077635AB5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9BD3D04-9C8B-66FC-49FE-D5FF9C8592B9}"/>
              </a:ext>
            </a:extLst>
          </p:cNvPr>
          <p:cNvSpPr/>
          <p:nvPr/>
        </p:nvSpPr>
        <p:spPr>
          <a:xfrm>
            <a:off x="6629401" y="852699"/>
            <a:ext cx="1866900" cy="776190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CB1F1778-A138-9655-45D5-EE81C7C6B9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31BD81C5-DAC9-046E-58A9-FD1D024C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39BA59E0-9D0D-74E5-21D6-0BB58AFC8996}"/>
              </a:ext>
            </a:extLst>
          </p:cNvPr>
          <p:cNvGrpSpPr/>
          <p:nvPr/>
        </p:nvGrpSpPr>
        <p:grpSpPr>
          <a:xfrm>
            <a:off x="10883901" y="0"/>
            <a:ext cx="1308100" cy="1503920"/>
            <a:chOff x="381000" y="-1"/>
            <a:chExt cx="2167459" cy="3659633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774A176-336A-5CFC-CCEB-4046D71C072F}"/>
                </a:ext>
              </a:extLst>
            </p:cNvPr>
            <p:cNvSpPr/>
            <p:nvPr/>
          </p:nvSpPr>
          <p:spPr>
            <a:xfrm>
              <a:off x="381000" y="-1"/>
              <a:ext cx="1817434" cy="3116000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chemeClr val="tx1">
                <a:alpha val="58000"/>
              </a:scheme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9682FFC-5A62-82B2-CCD9-8E1C3C231E8F}"/>
                </a:ext>
              </a:extLst>
            </p:cNvPr>
            <p:cNvSpPr/>
            <p:nvPr/>
          </p:nvSpPr>
          <p:spPr>
            <a:xfrm>
              <a:off x="679428" y="455167"/>
              <a:ext cx="1869031" cy="3204465"/>
            </a:xfrm>
            <a:custGeom>
              <a:avLst/>
              <a:gdLst>
                <a:gd name="connsiteX0" fmla="*/ 601198 w 1232944"/>
                <a:gd name="connsiteY0" fmla="*/ 0 h 2113890"/>
                <a:gd name="connsiteX1" fmla="*/ 1232944 w 1232944"/>
                <a:gd name="connsiteY1" fmla="*/ 0 h 2113890"/>
                <a:gd name="connsiteX2" fmla="*/ 653796 w 1232944"/>
                <a:gd name="connsiteY2" fmla="*/ 2113890 h 2113890"/>
                <a:gd name="connsiteX3" fmla="*/ 0 w 1232944"/>
                <a:gd name="connsiteY3" fmla="*/ 2113890 h 21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944" h="2113890">
                  <a:moveTo>
                    <a:pt x="601198" y="0"/>
                  </a:moveTo>
                  <a:lnTo>
                    <a:pt x="1232944" y="0"/>
                  </a:lnTo>
                  <a:lnTo>
                    <a:pt x="653796" y="2113890"/>
                  </a:lnTo>
                  <a:lnTo>
                    <a:pt x="0" y="2113890"/>
                  </a:lnTo>
                  <a:close/>
                </a:path>
              </a:pathLst>
            </a:custGeom>
            <a:solidFill>
              <a:srgbClr val="00A0FA">
                <a:alpha val="58000"/>
              </a:srgbClr>
            </a:solidFill>
            <a:ln w="1798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08C1219-F172-4160-A516-33541893C893}"/>
              </a:ext>
            </a:extLst>
          </p:cNvPr>
          <p:cNvSpPr/>
          <p:nvPr/>
        </p:nvSpPr>
        <p:spPr>
          <a:xfrm>
            <a:off x="442914" y="1690971"/>
            <a:ext cx="11306174" cy="4354229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D662F9-74C7-E417-B0EC-05E09C492DDF}"/>
              </a:ext>
            </a:extLst>
          </p:cNvPr>
          <p:cNvSpPr txBox="1"/>
          <p:nvPr/>
        </p:nvSpPr>
        <p:spPr>
          <a:xfrm>
            <a:off x="442913" y="461923"/>
            <a:ext cx="113061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icated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A0F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D4A34B8-D666-D680-8FEB-03619EC1455B}"/>
              </a:ext>
            </a:extLst>
          </p:cNvPr>
          <p:cNvSpPr/>
          <p:nvPr/>
        </p:nvSpPr>
        <p:spPr>
          <a:xfrm>
            <a:off x="37846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FC60EA5-9984-F4F5-0892-A05AD3A63104}"/>
              </a:ext>
            </a:extLst>
          </p:cNvPr>
          <p:cNvSpPr/>
          <p:nvPr/>
        </p:nvSpPr>
        <p:spPr>
          <a:xfrm>
            <a:off x="645795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B5742EC-52BE-EFF9-3232-A6C6B8D2BFF2}"/>
              </a:ext>
            </a:extLst>
          </p:cNvPr>
          <p:cNvSpPr/>
          <p:nvPr/>
        </p:nvSpPr>
        <p:spPr>
          <a:xfrm>
            <a:off x="9131300" y="1739900"/>
            <a:ext cx="2436814" cy="2803525"/>
          </a:xfrm>
          <a:prstGeom prst="roundRect">
            <a:avLst>
              <a:gd name="adj" fmla="val 3016"/>
            </a:avLst>
          </a:prstGeom>
          <a:solidFill>
            <a:schemeClr val="bg1"/>
          </a:solidFill>
          <a:ln w="17986" cap="flat">
            <a:noFill/>
            <a:prstDash val="solid"/>
            <a:miter/>
          </a:ln>
          <a:effectLst>
            <a:outerShdw blurRad="317500" rotWithShape="0">
              <a:scrgbClr r="0" g="0" b="0">
                <a:alpha val="20000"/>
              </a:sc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8" name="Google Shape;385;p40">
            <a:extLst>
              <a:ext uri="{FF2B5EF4-FFF2-40B4-BE49-F238E27FC236}">
                <a16:creationId xmlns:a16="http://schemas.microsoft.com/office/drawing/2014/main" id="{94256EF8-4A27-8163-F528-ABD00410DEA4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3480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385;p40">
            <a:extLst>
              <a:ext uri="{FF2B5EF4-FFF2-40B4-BE49-F238E27FC236}">
                <a16:creationId xmlns:a16="http://schemas.microsoft.com/office/drawing/2014/main" id="{0D750E84-99BD-561A-FB3F-5A48DAEEB00C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02136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85;p40">
            <a:extLst>
              <a:ext uri="{FF2B5EF4-FFF2-40B4-BE49-F238E27FC236}">
                <a16:creationId xmlns:a16="http://schemas.microsoft.com/office/drawing/2014/main" id="{01A821D7-C804-2AB7-0973-E4190BB3DE1A}"/>
              </a:ext>
            </a:extLst>
          </p:cNvPr>
          <p:cNvPicPr preferRelativeResize="0"/>
          <p:nvPr/>
        </p:nvPicPr>
        <p:blipFill rotWithShape="1">
          <a:blip r:embed="rId5">
            <a:alphaModFix/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9694710" y="2102299"/>
            <a:ext cx="1309995" cy="50995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9C4DBB7-0710-1D4C-B50B-8557F38640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220858"/>
              </p:ext>
            </p:extLst>
          </p:nvPr>
        </p:nvGraphicFramePr>
        <p:xfrm>
          <a:off x="622300" y="1841500"/>
          <a:ext cx="10858501" cy="2378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00">
                  <a:extLst>
                    <a:ext uri="{9D8B030D-6E8A-4147-A177-3AD203B41FA5}">
                      <a16:colId xmlns:a16="http://schemas.microsoft.com/office/drawing/2014/main" val="3782517522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val="15513268"/>
                    </a:ext>
                  </a:extLst>
                </a:gridCol>
                <a:gridCol w="2146300">
                  <a:extLst>
                    <a:ext uri="{9D8B030D-6E8A-4147-A177-3AD203B41FA5}">
                      <a16:colId xmlns:a16="http://schemas.microsoft.com/office/drawing/2014/main" val="130976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475018232"/>
                    </a:ext>
                  </a:extLst>
                </a:gridCol>
                <a:gridCol w="2184400">
                  <a:extLst>
                    <a:ext uri="{9D8B030D-6E8A-4147-A177-3AD203B41FA5}">
                      <a16:colId xmlns:a16="http://schemas.microsoft.com/office/drawing/2014/main" val="1528964507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3833748991"/>
                    </a:ext>
                  </a:extLst>
                </a:gridCol>
                <a:gridCol w="2222501">
                  <a:extLst>
                    <a:ext uri="{9D8B030D-6E8A-4147-A177-3AD203B41FA5}">
                      <a16:colId xmlns:a16="http://schemas.microsoft.com/office/drawing/2014/main" val="746672001"/>
                    </a:ext>
                  </a:extLst>
                </a:gridCol>
              </a:tblGrid>
              <a:tr h="301622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kages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ard</a:t>
                      </a:r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938121"/>
                  </a:ext>
                </a:extLst>
              </a:tr>
              <a:tr h="44634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8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76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440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56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777568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ly Ra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1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903735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97344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Monthly Hou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6898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ximum Capacity per day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Hours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Hou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IN" sz="11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ours</a:t>
                      </a:r>
                      <a:endParaRPr lang="en-IN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1547957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 Review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-Week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ekl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606716"/>
                  </a:ext>
                </a:extLst>
              </a:tr>
              <a:tr h="27178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dicated Project Manager Manag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17887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77451BAA-BECA-5F3C-74A6-FEB6ED8054BA}"/>
              </a:ext>
            </a:extLst>
          </p:cNvPr>
          <p:cNvGrpSpPr/>
          <p:nvPr/>
        </p:nvGrpSpPr>
        <p:grpSpPr>
          <a:xfrm>
            <a:off x="5685395" y="852700"/>
            <a:ext cx="3073400" cy="776189"/>
            <a:chOff x="5685395" y="852700"/>
            <a:chExt cx="3073400" cy="77618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D22E66C-BF42-27B4-3B01-4234CA0F89A0}"/>
                </a:ext>
              </a:extLst>
            </p:cNvPr>
            <p:cNvSpPr txBox="1"/>
            <p:nvPr/>
          </p:nvSpPr>
          <p:spPr>
            <a:xfrm>
              <a:off x="5685395" y="1108501"/>
              <a:ext cx="307340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96DB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nually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96D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C29CBCC4-9908-EC00-99E9-61B5A804CCC4}"/>
                </a:ext>
              </a:extLst>
            </p:cNvPr>
            <p:cNvSpPr/>
            <p:nvPr/>
          </p:nvSpPr>
          <p:spPr>
            <a:xfrm>
              <a:off x="7943768" y="852700"/>
              <a:ext cx="775173" cy="776189"/>
            </a:xfrm>
            <a:prstGeom prst="ellipse">
              <a:avLst/>
            </a:prstGeom>
            <a:solidFill>
              <a:schemeClr val="accent1"/>
            </a:solidFill>
            <a:ln w="17986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Save 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</a:b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rPr>
                <a:t>20%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7948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517</Words>
  <Application>Microsoft Office PowerPoint</Application>
  <PresentationFormat>Widescreen</PresentationFormat>
  <Paragraphs>24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Robo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into Abraham</dc:creator>
  <cp:lastModifiedBy>Jinto Abraham</cp:lastModifiedBy>
  <cp:revision>1</cp:revision>
  <dcterms:created xsi:type="dcterms:W3CDTF">2024-10-29T03:22:06Z</dcterms:created>
  <dcterms:modified xsi:type="dcterms:W3CDTF">2024-10-29T03:41:10Z</dcterms:modified>
</cp:coreProperties>
</file>